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8" r:id="rId1"/>
  </p:sldMasterIdLst>
  <p:notesMasterIdLst>
    <p:notesMasterId r:id="rId13"/>
  </p:notesMasterIdLst>
  <p:handoutMasterIdLst>
    <p:handoutMasterId r:id="rId14"/>
  </p:handoutMasterIdLst>
  <p:sldIdLst>
    <p:sldId id="2822" r:id="rId2"/>
    <p:sldId id="684" r:id="rId3"/>
    <p:sldId id="2830" r:id="rId4"/>
    <p:sldId id="2831" r:id="rId5"/>
    <p:sldId id="2832" r:id="rId6"/>
    <p:sldId id="685" r:id="rId7"/>
    <p:sldId id="2824" r:id="rId8"/>
    <p:sldId id="2826" r:id="rId9"/>
    <p:sldId id="2827" r:id="rId10"/>
    <p:sldId id="2828" r:id="rId11"/>
    <p:sldId id="687" r:id="rId12"/>
  </p:sldIdLst>
  <p:sldSz cx="9144000" cy="5143500" type="screen16x9"/>
  <p:notesSz cx="6805613" cy="9939338"/>
  <p:custDataLst>
    <p:tags r:id="rId15"/>
  </p:custDataLst>
  <p:defaultTextStyle>
    <a:defPPr>
      <a:defRPr lang="en-US"/>
    </a:defPPr>
    <a:lvl1pPr marL="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46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19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91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65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37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10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83" algn="l" defTabSz="9143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1546AF60-B8B5-BD40-A707-607F99CD03F5}">
          <p14:sldIdLst>
            <p14:sldId id="2822"/>
            <p14:sldId id="684"/>
            <p14:sldId id="2830"/>
            <p14:sldId id="2831"/>
            <p14:sldId id="2832"/>
            <p14:sldId id="685"/>
            <p14:sldId id="2824"/>
            <p14:sldId id="2826"/>
            <p14:sldId id="2827"/>
            <p14:sldId id="2828"/>
            <p14:sldId id="687"/>
          </p14:sldIdLst>
        </p14:section>
        <p14:section name="Template" id="{DE814E5A-073F-4E4F-A210-230B0EC1B855}">
          <p14:sldIdLst/>
        </p14:section>
        <p14:section name="Assets" id="{0553DC1D-66F4-0B4D-BA47-FF773463D68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">
          <p15:clr>
            <a:srgbClr val="A4A3A4"/>
          </p15:clr>
        </p15:guide>
        <p15:guide id="2" orient="horz" pos="2491">
          <p15:clr>
            <a:srgbClr val="A4A3A4"/>
          </p15:clr>
        </p15:guide>
        <p15:guide id="3" orient="horz" pos="2712">
          <p15:clr>
            <a:srgbClr val="A4A3A4"/>
          </p15:clr>
        </p15:guide>
        <p15:guide id="4" orient="horz" pos="6082">
          <p15:clr>
            <a:srgbClr val="A4A3A4"/>
          </p15:clr>
        </p15:guide>
        <p15:guide id="5" pos="197">
          <p15:clr>
            <a:srgbClr val="A4A3A4"/>
          </p15:clr>
        </p15:guide>
        <p15:guide id="6" pos="4088">
          <p15:clr>
            <a:srgbClr val="A4A3A4"/>
          </p15:clr>
        </p15:guide>
        <p15:guide id="7" pos="3013">
          <p15:clr>
            <a:srgbClr val="A4A3A4"/>
          </p15:clr>
        </p15:guide>
        <p15:guide id="8" pos="27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D6D"/>
    <a:srgbClr val="A0A0A0"/>
    <a:srgbClr val="F2D9E9"/>
    <a:srgbClr val="0081C7"/>
    <a:srgbClr val="D6D6D6"/>
    <a:srgbClr val="E10098"/>
    <a:srgbClr val="90276C"/>
    <a:srgbClr val="8C8B8B"/>
    <a:srgbClr val="868585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43" autoAdjust="0"/>
    <p:restoredTop sz="96341" autoAdjust="0"/>
  </p:normalViewPr>
  <p:slideViewPr>
    <p:cSldViewPr showGuides="1">
      <p:cViewPr varScale="1">
        <p:scale>
          <a:sx n="228" d="100"/>
          <a:sy n="228" d="100"/>
        </p:scale>
        <p:origin x="168" y="6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258" y="329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824"/>
    </p:cViewPr>
  </p:sorterViewPr>
  <p:notesViewPr>
    <p:cSldViewPr showGuides="1">
      <p:cViewPr varScale="1">
        <p:scale>
          <a:sx n="77" d="100"/>
          <a:sy n="77" d="100"/>
        </p:scale>
        <p:origin x="-3978" y="-96"/>
      </p:cViewPr>
      <p:guideLst>
        <p:guide orient="horz" pos="274"/>
        <p:guide orient="horz" pos="2491"/>
        <p:guide orient="horz" pos="2712"/>
        <p:guide orient="horz" pos="6082"/>
        <p:guide pos="197"/>
        <p:guide pos="4088"/>
        <p:guide pos="3013"/>
        <p:guide pos="27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4943" y="2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/>
          <a:lstStyle>
            <a:lvl1pPr algn="r">
              <a:defRPr sz="1400"/>
            </a:lvl1pPr>
          </a:lstStyle>
          <a:p>
            <a:fld id="{C84ABD84-B427-486C-B91D-F8364DDF0A46}" type="datetimeFigureOut">
              <a:rPr lang="en-US" smtClean="0">
                <a:latin typeface="AdihausDIN" panose="020B0506020101010102" pitchFamily="34" charset="0"/>
              </a:rPr>
              <a:t>8/7/19</a:t>
            </a:fld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l">
              <a:defRPr sz="1400"/>
            </a:lvl1pPr>
          </a:lstStyle>
          <a:p>
            <a:endParaRPr lang="en-US" dirty="0">
              <a:latin typeface="AdihausDIN" panose="020B0506020101010102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4943" y="9440648"/>
            <a:ext cx="2949098" cy="496967"/>
          </a:xfrm>
          <a:prstGeom prst="rect">
            <a:avLst/>
          </a:prstGeom>
        </p:spPr>
        <p:txBody>
          <a:bodyPr vert="horz" lIns="94702" tIns="47351" rIns="94702" bIns="47351" rtlCol="0" anchor="b"/>
          <a:lstStyle>
            <a:lvl1pPr algn="r">
              <a:defRPr sz="1400"/>
            </a:lvl1pPr>
          </a:lstStyle>
          <a:p>
            <a:fld id="{B04F07B2-80B6-43CA-AA4A-473635943C69}" type="slidenum">
              <a:rPr lang="en-US" smtClean="0">
                <a:latin typeface="AdihausDIN" panose="020B0506020101010102" pitchFamily="34" charset="0"/>
              </a:rPr>
              <a:t>‹#›</a:t>
            </a:fld>
            <a:endParaRPr lang="en-US" dirty="0">
              <a:latin typeface="AdihausDIN" panose="020B05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896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6225" y="434975"/>
            <a:ext cx="6249988" cy="3516313"/>
          </a:xfrm>
          <a:prstGeom prst="rect">
            <a:avLst/>
          </a:prstGeom>
          <a:noFill/>
          <a:ln w="12700">
            <a:noFill/>
          </a:ln>
          <a:effectLst>
            <a:outerShdw blurRad="254000" dist="12700" dir="16200000" algn="ctr" rotWithShape="0">
              <a:schemeClr val="tx1">
                <a:alpha val="30000"/>
              </a:schemeClr>
            </a:outerShdw>
          </a:effectLst>
        </p:spPr>
        <p:txBody>
          <a:bodyPr vert="horz" lIns="94702" tIns="47351" rIns="94702" bIns="473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13523" y="4304426"/>
            <a:ext cx="4124128" cy="53496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783107" y="2"/>
            <a:ext cx="1707932" cy="179428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Presentation </a:t>
            </a:r>
            <a:r>
              <a:rPr lang="en-US" sz="500" b="1" dirty="0" err="1">
                <a:solidFill>
                  <a:schemeClr val="bg1"/>
                </a:solidFill>
                <a:latin typeface="AdihausDIN" panose="020B0506020101010102" pitchFamily="34" charset="0"/>
              </a:rPr>
              <a:t>handout</a:t>
            </a:r>
            <a:r>
              <a:rPr lang="en-US" sz="500" b="1" dirty="0">
                <a:solidFill>
                  <a:schemeClr val="bg1"/>
                </a:solidFill>
                <a:latin typeface="AdihausDIN" panose="020B0506020101010102" pitchFamily="34" charset="0"/>
              </a:rPr>
              <a:t>/note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4783104" y="463878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 bwMode="gray">
          <a:xfrm flipH="1">
            <a:off x="4783104" y="497313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 bwMode="gray">
          <a:xfrm flipH="1">
            <a:off x="4783104" y="530749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gray">
          <a:xfrm flipH="1">
            <a:off x="4783104" y="564185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 flipH="1">
            <a:off x="4783104" y="597620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gray">
          <a:xfrm flipH="1">
            <a:off x="4783104" y="6310563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gray">
          <a:xfrm flipH="1">
            <a:off x="4783104" y="6644918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 flipH="1">
            <a:off x="4783104" y="697927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 flipH="1">
            <a:off x="4783104" y="7313629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783104" y="7647986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4783104" y="7982342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 flipH="1">
            <a:off x="4783104" y="8316697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 flipH="1">
            <a:off x="4783104" y="865105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 flipH="1">
            <a:off x="4783104" y="8985410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H="1">
            <a:off x="4783104" y="9319765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 flipH="1">
            <a:off x="4783104" y="9654124"/>
            <a:ext cx="1707492" cy="0"/>
          </a:xfrm>
          <a:prstGeom prst="line">
            <a:avLst/>
          </a:prstGeom>
          <a:ln w="6350" cap="rnd">
            <a:solidFill>
              <a:schemeClr val="bg2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 bwMode="gray">
          <a:xfrm>
            <a:off x="4783104" y="4304425"/>
            <a:ext cx="1707492" cy="208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900" b="1" dirty="0">
                <a:solidFill>
                  <a:schemeClr val="bg1">
                    <a:lumMod val="50000"/>
                  </a:schemeClr>
                </a:solidFill>
                <a:latin typeface="AdihausDIN" panose="020B0506020101010102" pitchFamily="34" charset="0"/>
              </a:rPr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3741765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346" rtl="0" eaLnBrk="1" latinLnBrk="0" hangingPunct="1">
      <a:lnSpc>
        <a:spcPct val="110000"/>
      </a:lnSpc>
      <a:buSzPct val="90000"/>
      <a:buFont typeface="Wingdings" pitchFamily="2" charset="2"/>
      <a:buNone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1pPr>
    <a:lvl2pPr marL="107993" indent="-107993" algn="l" defTabSz="914346" rtl="0" eaLnBrk="1" latinLnBrk="0" hangingPunct="1">
      <a:lnSpc>
        <a:spcPct val="110000"/>
      </a:lnSpc>
      <a:buSzPct val="90000"/>
      <a:buFont typeface="Wingdings" pitchFamily="2" charset="2"/>
      <a:buChar char="§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2pPr>
    <a:lvl3pPr marL="107993" indent="-107993" algn="l" defTabSz="914346" rtl="0" eaLnBrk="1" latinLnBrk="0" hangingPunct="1">
      <a:lnSpc>
        <a:spcPct val="110000"/>
      </a:lnSpc>
      <a:buSzPct val="90000"/>
      <a:buFont typeface="Symbol" pitchFamily="18" charset="2"/>
      <a:buChar char="-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3pPr>
    <a:lvl4pPr marL="107993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4pPr>
    <a:lvl5pPr marL="215987" indent="-107993" algn="l" defTabSz="914346" rtl="0" eaLnBrk="1" latinLnBrk="0" hangingPunct="1">
      <a:lnSpc>
        <a:spcPct val="110000"/>
      </a:lnSpc>
      <a:buSzPct val="90000"/>
      <a:buFont typeface="+mj-lt"/>
      <a:buAutoNum type="arabicPeriod"/>
      <a:defRPr sz="1000" kern="1200">
        <a:solidFill>
          <a:schemeClr val="tx1"/>
        </a:solidFill>
        <a:latin typeface="AdihausDIN" panose="020B0506020101010102" pitchFamily="34" charset="0"/>
        <a:ea typeface="+mn-ea"/>
        <a:cs typeface="+mn-cs"/>
      </a:defRPr>
    </a:lvl5pPr>
    <a:lvl6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3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microsoft.com/office/2007/relationships/hdphoto" Target="NUL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NULL"/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-1" y="4732338"/>
            <a:ext cx="3059114" cy="411162"/>
          </a:xfrm>
          <a:prstGeom prst="rect">
            <a:avLst/>
          </a:prstGeom>
          <a:solidFill>
            <a:schemeClr val="bg1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sz="1400" cap="all" dirty="0">
              <a:latin typeface="+mj-lt"/>
              <a:cs typeface="AdihausDIN" panose="020B0504020101020102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359532" y="842964"/>
            <a:ext cx="5004556" cy="2608954"/>
          </a:xfrm>
          <a:prstGeom prst="rect">
            <a:avLst/>
          </a:prstGeom>
          <a:solidFill>
            <a:srgbClr val="2CD5C4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54" tIns="72554" rIns="72554" bIns="725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cap="all" dirty="0">
              <a:solidFill>
                <a:srgbClr val="2CD5C4"/>
              </a:solidFill>
              <a:latin typeface="+mj-lt"/>
              <a:cs typeface="AdihausDIN" panose="020B0504020101020102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8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280" y="2273215"/>
            <a:ext cx="2159552" cy="59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63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tabLst>
                <a:tab pos="2393950" algn="l"/>
              </a:tabLst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23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20" y="1921195"/>
            <a:ext cx="4644048" cy="1047267"/>
          </a:xfrm>
          <a:prstGeom prst="rect">
            <a:avLst/>
          </a:prstGeom>
        </p:spPr>
        <p:txBody>
          <a:bodyPr bIns="35998" anchor="b">
            <a:spAutoFit/>
          </a:bodyPr>
          <a:lstStyle>
            <a:lvl1pPr>
              <a:lnSpc>
                <a:spcPct val="67000"/>
              </a:lnSpc>
              <a:tabLst/>
              <a:defRPr sz="4800" spc="-30" baseline="0">
                <a:solidFill>
                  <a:schemeClr val="bg1"/>
                </a:solidFill>
              </a:defRPr>
            </a:lvl1pPr>
            <a:lvl2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2pPr>
            <a:lvl3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3pPr>
            <a:lvl4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4pPr>
            <a:lvl5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5pPr>
            <a:lvl6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6pPr>
            <a:lvl7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7pPr>
            <a:lvl8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8pPr>
            <a:lvl9pPr>
              <a:lnSpc>
                <a:spcPct val="67000"/>
              </a:lnSpc>
              <a:defRPr sz="4800" spc="-3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itle of the presentation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20" y="2968414"/>
            <a:ext cx="4644048" cy="24744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67000"/>
              </a:lnSpc>
              <a:spcAft>
                <a:spcPts val="907"/>
              </a:spcAft>
              <a:buNone/>
              <a:defRPr sz="2400" cap="all" spc="0" baseline="0">
                <a:solidFill>
                  <a:schemeClr val="bg1"/>
                </a:solidFill>
                <a:latin typeface="+mn-lt"/>
                <a:cs typeface="AdihausDIN" panose="020B0504020101020102" pitchFamily="34" charset="0"/>
              </a:defRPr>
            </a:lvl1pPr>
            <a:lvl2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Font typeface="AdihausDIN" panose="020B0604020202020204" pitchFamily="34" charset="0"/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67000"/>
              </a:lnSpc>
              <a:spcBef>
                <a:spcPts val="0"/>
              </a:spcBef>
              <a:spcAft>
                <a:spcPts val="907"/>
              </a:spcAft>
              <a:buNone/>
              <a:defRPr sz="2400" b="0" cap="all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01" y="4876277"/>
            <a:ext cx="1514699" cy="12328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943708" y="4862279"/>
            <a:ext cx="0" cy="151280"/>
          </a:xfrm>
          <a:custGeom>
            <a:avLst/>
            <a:gdLst>
              <a:gd name="connsiteX0" fmla="*/ 0 w 0"/>
              <a:gd name="connsiteY0" fmla="*/ 0 h 151280"/>
              <a:gd name="connsiteX1" fmla="*/ 0 w 0"/>
              <a:gd name="connsiteY1" fmla="*/ 151280 h 1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1280">
                <a:moveTo>
                  <a:pt x="0" y="0"/>
                </a:moveTo>
                <a:lnTo>
                  <a:pt x="0" y="151280"/>
                </a:lnTo>
              </a:path>
            </a:pathLst>
          </a:custGeom>
          <a:noFill/>
          <a:ln w="12700" cap="sq">
            <a:solidFill>
              <a:schemeClr val="bg1"/>
            </a:solidFill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009219" y="4732338"/>
            <a:ext cx="2556283" cy="411162"/>
          </a:xfrm>
          <a:prstGeom prst="rect">
            <a:avLst/>
          </a:prstGeom>
        </p:spPr>
        <p:txBody>
          <a:bodyPr bIns="10800" anchor="ctr">
            <a:noAutofit/>
          </a:bodyPr>
          <a:lstStyle>
            <a:lvl1pPr marL="40050" indent="0">
              <a:lnSpc>
                <a:spcPct val="100000"/>
              </a:lnSpc>
              <a:buNone/>
              <a:defRPr sz="135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DD Month YYY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5" y="842963"/>
            <a:ext cx="3277121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4319972" y="843757"/>
            <a:ext cx="4366828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800" b="0" i="0" cap="all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 flipV="1">
            <a:off x="3923928" y="864161"/>
            <a:ext cx="1" cy="341518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8776" y="842963"/>
            <a:ext cx="2700338" cy="3457576"/>
          </a:xfrm>
          <a:prstGeom prst="rect">
            <a:avLst/>
          </a:prstGeom>
        </p:spPr>
        <p:txBody>
          <a:bodyPr rIns="0" bIns="0" anchor="ctr" anchorCtr="0"/>
          <a:lstStyle>
            <a:lvl1pPr algn="ctr">
              <a:defRPr sz="4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400" b="0" i="0" cap="none" baseline="0">
                <a:solidFill>
                  <a:schemeClr val="tx1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842963"/>
            <a:ext cx="2094157" cy="3457576"/>
          </a:xfrm>
          <a:prstGeom prst="rect">
            <a:avLst/>
          </a:prstGeom>
        </p:spPr>
        <p:txBody>
          <a:bodyPr tIns="180000" rIns="0" bIns="0" anchor="ctr" anchorCtr="0"/>
          <a:lstStyle>
            <a:lvl1pPr algn="r">
              <a:defRPr sz="7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>
          <a:xfrm>
            <a:off x="3383868" y="843757"/>
            <a:ext cx="5401356" cy="345598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4000" b="0" i="0" cap="all" baseline="0">
                <a:solidFill>
                  <a:schemeClr val="tx1"/>
                </a:solidFill>
                <a:latin typeface="+mn-lt"/>
                <a:ea typeface="AdihausDIN" charset="0"/>
                <a:cs typeface="AdihausDIN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 flipV="1">
            <a:off x="2918400" y="1976793"/>
            <a:ext cx="1" cy="1196999"/>
          </a:xfrm>
          <a:prstGeom prst="line">
            <a:avLst/>
          </a:prstGeom>
          <a:ln w="38100">
            <a:solidFill>
              <a:srgbClr val="2CD5C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303214"/>
            <a:ext cx="8421688" cy="5397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61951" y="1058863"/>
            <a:ext cx="8418512" cy="3652814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1pPr>
            <a:lvl2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2pPr>
            <a:lvl3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3pPr>
            <a:lvl4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4pPr>
            <a:lvl5pPr>
              <a:lnSpc>
                <a:spcPct val="90000"/>
              </a:lnSpc>
              <a:spcAft>
                <a:spcPts val="600"/>
              </a:spcAft>
              <a:defRPr b="0" i="0" cap="none" baseline="0">
                <a:latin typeface="AdihausDIN" charset="0"/>
                <a:ea typeface="AdihausDIN" charset="0"/>
                <a:cs typeface="AdihausDI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66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/>
          <a:lstStyle/>
          <a:p>
            <a:fld id="{D136C6D1-1D7D-45E1-A7D6-44C33DC01A2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8333570" y="4803775"/>
            <a:ext cx="451655" cy="33972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346" rtl="0" eaLnBrk="1" latinLnBrk="0" hangingPunct="1">
              <a:defRPr sz="800" b="1" i="0" kern="120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  <a:lvl2pPr marL="45717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6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19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1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65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37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10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83" algn="l" defTabSz="9143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Placeholder 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9957" b="39957"/>
          <a:stretch>
            <a:fillRect/>
          </a:stretch>
        </p:blipFill>
        <p:spPr>
          <a:xfrm>
            <a:off x="0" y="1"/>
            <a:ext cx="9144000" cy="971550"/>
          </a:xfrm>
          <a:prstGeom prst="rect">
            <a:avLst/>
          </a:prstGeom>
        </p:spPr>
      </p:pic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85" y="213906"/>
            <a:ext cx="2112852" cy="77480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301966"/>
            <a:ext cx="4213224" cy="1133383"/>
          </a:xfrm>
        </p:spPr>
        <p:txBody>
          <a:bodyPr anchor="ctr"/>
          <a:lstStyle>
            <a:lvl1pPr>
              <a:defRPr b="1" i="0" baseline="0"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pPr marL="220050" marR="0" lvl="0" indent="-180000" algn="l" defTabSz="7200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" charset="2"/>
              <a:buNone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/>
            </a:pPr>
            <a:r>
              <a:rPr lang="en-US" dirty="0"/>
              <a:t>John Do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143350"/>
            <a:ext cx="7430189" cy="34284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4464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6A978-B10D-7949-BE9C-E7630ED468FB}" type="datetimeFigureOut">
              <a:rPr lang="en-US" smtClean="0"/>
              <a:t>8/7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F5203-B326-D94B-8385-5A376D338A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6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10000">
        <p14:prism/>
      </p:transition>
    </mc:Choice>
    <mc:Fallback xmlns="">
      <p:transition xmlns:p14="http://schemas.microsoft.com/office/powerpoint/2010/main" spd="slow" advClick="0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NUL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64" y="4906545"/>
            <a:ext cx="401094" cy="92534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61736601"/>
              </p:ext>
            </p:extLst>
          </p:nvPr>
        </p:nvGraphicFramePr>
        <p:xfrm>
          <a:off x="1601" y="1600"/>
          <a:ext cx="1599" cy="1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1" y="1600"/>
                        <a:ext cx="1599" cy="15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88908" y="-92546"/>
            <a:ext cx="9341424" cy="5327687"/>
            <a:chOff x="-88908" y="-92546"/>
            <a:chExt cx="9341424" cy="5327687"/>
          </a:xfrm>
        </p:grpSpPr>
        <p:grpSp>
          <p:nvGrpSpPr>
            <p:cNvPr id="5" name="Group 4"/>
            <p:cNvGrpSpPr/>
            <p:nvPr userDrawn="1"/>
          </p:nvGrpSpPr>
          <p:grpSpPr>
            <a:xfrm>
              <a:off x="1547813" y="-92546"/>
              <a:ext cx="0" cy="5326781"/>
              <a:chOff x="1522293" y="-92546"/>
              <a:chExt cx="0" cy="5326781"/>
            </a:xfrm>
          </p:grpSpPr>
          <p:cxnSp>
            <p:nvCxnSpPr>
              <p:cNvPr id="253" name="Straight Connector 252"/>
              <p:cNvCxnSpPr/>
              <p:nvPr userDrawn="1"/>
            </p:nvCxnSpPr>
            <p:spPr bwMode="gray">
              <a:xfrm flipV="1">
                <a:off x="1522293" y="5198235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 flipV="1">
                <a:off x="1522293" y="-92546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oup 254"/>
            <p:cNvGrpSpPr/>
            <p:nvPr userDrawn="1"/>
          </p:nvGrpSpPr>
          <p:grpSpPr>
            <a:xfrm>
              <a:off x="-88908" y="303213"/>
              <a:ext cx="9341424" cy="0"/>
              <a:chOff x="-88214" y="428625"/>
              <a:chExt cx="9268445" cy="0"/>
            </a:xfrm>
          </p:grpSpPr>
          <p:cxnSp>
            <p:nvCxnSpPr>
              <p:cNvPr id="256" name="Straight Connector 255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 userDrawn="1"/>
            </p:nvCxnSpPr>
            <p:spPr bwMode="gray">
              <a:xfrm flipH="1">
                <a:off x="-88214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 bwMode="gray">
              <a:xfrm flipH="1">
                <a:off x="9144512" y="428625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oup 259"/>
            <p:cNvGrpSpPr/>
            <p:nvPr userDrawn="1"/>
          </p:nvGrpSpPr>
          <p:grpSpPr>
            <a:xfrm>
              <a:off x="358775" y="-92546"/>
              <a:ext cx="0" cy="5326781"/>
              <a:chOff x="1746825" y="-56409"/>
              <a:chExt cx="0" cy="5287323"/>
            </a:xfrm>
          </p:grpSpPr>
          <p:cxnSp>
            <p:nvCxnSpPr>
              <p:cNvPr id="261" name="Straight Connector 260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3" name="Group 262"/>
            <p:cNvGrpSpPr/>
            <p:nvPr userDrawn="1"/>
          </p:nvGrpSpPr>
          <p:grpSpPr>
            <a:xfrm>
              <a:off x="3057902" y="-92546"/>
              <a:ext cx="2673" cy="5326781"/>
              <a:chOff x="3140041" y="-56409"/>
              <a:chExt cx="2652" cy="5287323"/>
            </a:xfrm>
          </p:grpSpPr>
          <p:cxnSp>
            <p:nvCxnSpPr>
              <p:cNvPr id="264" name="Straight Connector 26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/>
            <p:cNvGrpSpPr/>
            <p:nvPr userDrawn="1"/>
          </p:nvGrpSpPr>
          <p:grpSpPr>
            <a:xfrm>
              <a:off x="7596188" y="-92546"/>
              <a:ext cx="0" cy="5326781"/>
              <a:chOff x="7619200" y="-56830"/>
              <a:chExt cx="0" cy="5326781"/>
            </a:xfrm>
          </p:grpSpPr>
          <p:cxnSp>
            <p:nvCxnSpPr>
              <p:cNvPr id="269" name="Straight Connector 268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 userDrawn="1"/>
            </p:nvCxnSpPr>
            <p:spPr bwMode="gray">
              <a:xfrm flipV="1">
                <a:off x="7619200" y="5233951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 userDrawn="1"/>
            </p:nvCxnSpPr>
            <p:spPr bwMode="gray">
              <a:xfrm flipV="1">
                <a:off x="7619200" y="-56830"/>
                <a:ext cx="0" cy="36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3" name="Group 272"/>
            <p:cNvGrpSpPr/>
            <p:nvPr userDrawn="1"/>
          </p:nvGrpSpPr>
          <p:grpSpPr>
            <a:xfrm>
              <a:off x="4570664" y="-91640"/>
              <a:ext cx="2673" cy="5326781"/>
              <a:chOff x="3140041" y="-56409"/>
              <a:chExt cx="2652" cy="5287323"/>
            </a:xfrm>
          </p:grpSpPr>
          <p:cxnSp>
            <p:nvCxnSpPr>
              <p:cNvPr id="274" name="Straight Connector 273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8" name="Group 277"/>
            <p:cNvGrpSpPr/>
            <p:nvPr userDrawn="1"/>
          </p:nvGrpSpPr>
          <p:grpSpPr>
            <a:xfrm>
              <a:off x="6083426" y="-92546"/>
              <a:ext cx="2673" cy="5326781"/>
              <a:chOff x="3140041" y="-56409"/>
              <a:chExt cx="2652" cy="5287323"/>
            </a:xfrm>
          </p:grpSpPr>
          <p:cxnSp>
            <p:nvCxnSpPr>
              <p:cNvPr id="279" name="Straight Connector 278"/>
              <p:cNvCxnSpPr/>
              <p:nvPr userDrawn="1"/>
            </p:nvCxnSpPr>
            <p:spPr bwMode="gray">
              <a:xfrm flipV="1">
                <a:off x="3142693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" name="Straight Connector 280"/>
              <p:cNvCxnSpPr/>
              <p:nvPr userDrawn="1"/>
            </p:nvCxnSpPr>
            <p:spPr bwMode="gray">
              <a:xfrm flipV="1">
                <a:off x="3140041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 userDrawn="1"/>
            </p:nvCxnSpPr>
            <p:spPr bwMode="gray">
              <a:xfrm flipV="1">
                <a:off x="3140041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3" name="Group 282"/>
            <p:cNvGrpSpPr/>
            <p:nvPr userDrawn="1"/>
          </p:nvGrpSpPr>
          <p:grpSpPr>
            <a:xfrm>
              <a:off x="8785225" y="-91640"/>
              <a:ext cx="0" cy="5326781"/>
              <a:chOff x="1746825" y="-56409"/>
              <a:chExt cx="0" cy="5287323"/>
            </a:xfrm>
          </p:grpSpPr>
          <p:cxnSp>
            <p:nvCxnSpPr>
              <p:cNvPr id="284" name="Straight Connector 283"/>
              <p:cNvCxnSpPr/>
              <p:nvPr userDrawn="1"/>
            </p:nvCxnSpPr>
            <p:spPr bwMode="gray">
              <a:xfrm flipV="1">
                <a:off x="1746825" y="5195181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/>
              <p:cNvCxnSpPr/>
              <p:nvPr/>
            </p:nvCxnSpPr>
            <p:spPr bwMode="gray">
              <a:xfrm flipV="1">
                <a:off x="1746825" y="-56409"/>
                <a:ext cx="0" cy="3573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6" name="Group 285"/>
            <p:cNvGrpSpPr/>
            <p:nvPr userDrawn="1"/>
          </p:nvGrpSpPr>
          <p:grpSpPr>
            <a:xfrm>
              <a:off x="-88908" y="842963"/>
              <a:ext cx="9341424" cy="0"/>
              <a:chOff x="-88214" y="406099"/>
              <a:chExt cx="9268445" cy="0"/>
            </a:xfrm>
          </p:grpSpPr>
          <p:cxnSp>
            <p:nvCxnSpPr>
              <p:cNvPr id="287" name="Straight Connector 28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1" name="Group 290"/>
            <p:cNvGrpSpPr/>
            <p:nvPr userDrawn="1"/>
          </p:nvGrpSpPr>
          <p:grpSpPr>
            <a:xfrm>
              <a:off x="-88908" y="1707357"/>
              <a:ext cx="9341424" cy="0"/>
              <a:chOff x="-88214" y="406099"/>
              <a:chExt cx="9268445" cy="0"/>
            </a:xfrm>
          </p:grpSpPr>
          <p:cxnSp>
            <p:nvCxnSpPr>
              <p:cNvPr id="292" name="Straight Connector 29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295"/>
            <p:cNvGrpSpPr/>
            <p:nvPr userDrawn="1"/>
          </p:nvGrpSpPr>
          <p:grpSpPr>
            <a:xfrm>
              <a:off x="-88908" y="3436145"/>
              <a:ext cx="9341424" cy="0"/>
              <a:chOff x="-88214" y="406099"/>
              <a:chExt cx="9268445" cy="0"/>
            </a:xfrm>
          </p:grpSpPr>
          <p:cxnSp>
            <p:nvCxnSpPr>
              <p:cNvPr id="297" name="Straight Connector 29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300"/>
            <p:cNvGrpSpPr/>
            <p:nvPr userDrawn="1"/>
          </p:nvGrpSpPr>
          <p:grpSpPr>
            <a:xfrm>
              <a:off x="-88908" y="4300538"/>
              <a:ext cx="9341424" cy="0"/>
              <a:chOff x="-88214" y="406099"/>
              <a:chExt cx="9268445" cy="0"/>
            </a:xfrm>
          </p:grpSpPr>
          <p:cxnSp>
            <p:nvCxnSpPr>
              <p:cNvPr id="302" name="Straight Connector 30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Straight Connector 304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6" name="Group 305"/>
            <p:cNvGrpSpPr/>
            <p:nvPr userDrawn="1"/>
          </p:nvGrpSpPr>
          <p:grpSpPr>
            <a:xfrm>
              <a:off x="-88908" y="2571751"/>
              <a:ext cx="9341424" cy="0"/>
              <a:chOff x="-88214" y="406099"/>
              <a:chExt cx="9268445" cy="0"/>
            </a:xfrm>
          </p:grpSpPr>
          <p:cxnSp>
            <p:nvCxnSpPr>
              <p:cNvPr id="307" name="Straight Connector 306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1" name="Group 310"/>
            <p:cNvGrpSpPr/>
            <p:nvPr userDrawn="1"/>
          </p:nvGrpSpPr>
          <p:grpSpPr>
            <a:xfrm>
              <a:off x="-88908" y="4732338"/>
              <a:ext cx="9341424" cy="0"/>
              <a:chOff x="-88214" y="406099"/>
              <a:chExt cx="9268445" cy="0"/>
            </a:xfrm>
          </p:grpSpPr>
          <p:cxnSp>
            <p:nvCxnSpPr>
              <p:cNvPr id="312" name="Straight Connector 311"/>
              <p:cNvCxnSpPr/>
              <p:nvPr userDrawn="1"/>
            </p:nvCxnSpPr>
            <p:spPr bwMode="gray">
              <a:xfrm flipH="1">
                <a:off x="-88214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 userDrawn="1"/>
            </p:nvCxnSpPr>
            <p:spPr bwMode="gray">
              <a:xfrm flipH="1">
                <a:off x="9144512" y="406099"/>
                <a:ext cx="35719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596187" y="4732338"/>
            <a:ext cx="1189037" cy="4111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i="0">
                <a:solidFill>
                  <a:srgbClr val="8C8B8B"/>
                </a:solidFill>
                <a:latin typeface="AdihausDIN" charset="0"/>
                <a:ea typeface="AdihausDIN" charset="0"/>
                <a:cs typeface="AdihausDIN" charset="0"/>
              </a:defRPr>
            </a:lvl1pPr>
          </a:lstStyle>
          <a:p>
            <a:fld id="{FEEA00DE-30B2-CA4E-86C6-D016479668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58775" y="850824"/>
            <a:ext cx="8426449" cy="3881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429022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80" r:id="rId2"/>
    <p:sldLayoutId id="2147484078" r:id="rId3"/>
    <p:sldLayoutId id="2147484079" r:id="rId4"/>
    <p:sldLayoutId id="2147484081" r:id="rId5"/>
    <p:sldLayoutId id="2147484041" r:id="rId6"/>
    <p:sldLayoutId id="2147484084" r:id="rId7"/>
    <p:sldLayoutId id="2147484085" r:id="rId8"/>
    <p:sldLayoutId id="2147484087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46" rtl="0" eaLnBrk="1" latinLnBrk="0" hangingPunct="1">
        <a:lnSpc>
          <a:spcPct val="80000"/>
        </a:lnSpc>
        <a:spcBef>
          <a:spcPct val="0"/>
        </a:spcBef>
        <a:buClrTx/>
        <a:buNone/>
        <a:defRPr sz="1800" strike="noStrike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hangingPunct="1">
        <a:lnSpc>
          <a:spcPct val="80000"/>
        </a:lnSpc>
        <a:defRPr kern="1200" cap="all" spc="0" baseline="0">
          <a:solidFill>
            <a:sysClr val="windowText" lastClr="000000"/>
          </a:solidFill>
          <a:latin typeface="+mj-lt"/>
        </a:defRPr>
      </a:lvl2pPr>
      <a:lvl3pPr algn="l" rtl="0" eaLnBrk="1" hangingPunct="1">
        <a:lnSpc>
          <a:spcPct val="80000"/>
        </a:lnSpc>
        <a:defRPr kern="1200" cap="all" baseline="0">
          <a:latin typeface="+mj-lt"/>
        </a:defRPr>
      </a:lvl3pPr>
      <a:lvl4pPr algn="l" rtl="0" eaLnBrk="1" hangingPunct="1">
        <a:lnSpc>
          <a:spcPct val="80000"/>
        </a:lnSpc>
        <a:defRPr kern="1200" cap="all" baseline="0">
          <a:latin typeface="+mj-lt"/>
        </a:defRPr>
      </a:lvl4pPr>
      <a:lvl5pPr algn="l" rtl="0" eaLnBrk="1" hangingPunct="1">
        <a:lnSpc>
          <a:spcPct val="80000"/>
        </a:lnSpc>
        <a:defRPr kern="1200" cap="all" baseline="0">
          <a:latin typeface="+mj-lt"/>
        </a:defRPr>
      </a:lvl5pPr>
      <a:lvl6pPr algn="l" rtl="0" eaLnBrk="1" hangingPunct="1">
        <a:lnSpc>
          <a:spcPct val="80000"/>
        </a:lnSpc>
        <a:defRPr kern="1200" cap="all" baseline="0">
          <a:latin typeface="+mj-lt"/>
        </a:defRPr>
      </a:lvl6pPr>
      <a:lvl7pPr algn="l" rtl="0" eaLnBrk="1" hangingPunct="1">
        <a:lnSpc>
          <a:spcPct val="80000"/>
        </a:lnSpc>
        <a:defRPr kern="1200" cap="all" baseline="0">
          <a:latin typeface="+mj-lt"/>
        </a:defRPr>
      </a:lvl7pPr>
      <a:lvl8pPr algn="l" rtl="0" eaLnBrk="1" hangingPunct="1">
        <a:lnSpc>
          <a:spcPct val="80000"/>
        </a:lnSpc>
        <a:defRPr kern="1200" cap="all" baseline="0">
          <a:latin typeface="+mj-lt"/>
        </a:defRPr>
      </a:lvl8pPr>
      <a:lvl9pPr eaLnBrk="1" hangingPunct="1">
        <a:lnSpc>
          <a:spcPct val="80000"/>
        </a:lnSpc>
        <a:defRPr kern="1200" cap="all" baseline="0">
          <a:latin typeface="+mj-lt"/>
        </a:defRPr>
      </a:lvl9pPr>
    </p:titleStyle>
    <p:bodyStyle>
      <a:lvl1pPr marL="220050" indent="-180000" algn="l" defTabSz="7200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360000" algn="l"/>
          <a:tab pos="720000" algn="l"/>
          <a:tab pos="1080000" algn="l"/>
          <a:tab pos="1440000" algn="l"/>
          <a:tab pos="1800000" algn="l"/>
          <a:tab pos="2160000" algn="l"/>
          <a:tab pos="2520000" algn="l"/>
          <a:tab pos="2880000" algn="l"/>
          <a:tab pos="3240000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1pPr>
      <a:lvl2pPr marL="580050" indent="-180000" algn="l" defTabSz="10800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720000" algn="l"/>
          <a:tab pos="1080000" algn="l"/>
          <a:tab pos="1440000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2pPr>
      <a:lvl3pPr marL="94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3pPr>
      <a:lvl4pPr marL="130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4pPr>
      <a:lvl5pPr marL="166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5pPr>
      <a:lvl6pPr marL="202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6pPr>
      <a:lvl7pPr marL="2380050" indent="-180000" algn="l" defTabSz="914346" rtl="0" eaLnBrk="1" latinLnBrk="0" hangingPunct="1">
        <a:lnSpc>
          <a:spcPct val="8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cap="none" baseline="0">
          <a:solidFill>
            <a:schemeClr val="tx1"/>
          </a:solidFill>
          <a:latin typeface="AdihausDIN" charset="0"/>
          <a:ea typeface="AdihausDIN" charset="0"/>
          <a:cs typeface="AdihausDIN" charset="0"/>
        </a:defRPr>
      </a:lvl7pPr>
      <a:lvl8pPr marL="27400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8pPr>
      <a:lvl9pPr marL="3051450" indent="-180000" algn="l" defTabSz="91434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Wingdings" charset="2"/>
        <a:buChar char="§"/>
        <a:tabLst>
          <a:tab pos="982604" algn="l"/>
        </a:tabLst>
        <a:defRPr sz="1200" b="0" i="0" kern="1200" baseline="0">
          <a:solidFill>
            <a:schemeClr val="tx1"/>
          </a:solidFill>
          <a:latin typeface="AdihausDIN"/>
          <a:ea typeface="+mn-ea"/>
          <a:cs typeface="AdihausDIN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1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27" userDrawn="1">
          <p15:clr>
            <a:srgbClr val="F26B43"/>
          </p15:clr>
        </p15:guide>
        <p15:guide id="4" pos="3833" userDrawn="1">
          <p15:clr>
            <a:srgbClr val="F26B43"/>
          </p15:clr>
        </p15:guide>
        <p15:guide id="5" pos="4785" userDrawn="1">
          <p15:clr>
            <a:srgbClr val="F26B43"/>
          </p15:clr>
        </p15:guide>
        <p15:guide id="6" pos="975" userDrawn="1">
          <p15:clr>
            <a:srgbClr val="F26B43"/>
          </p15:clr>
        </p15:guide>
        <p15:guide id="7" pos="226" userDrawn="1">
          <p15:clr>
            <a:srgbClr val="F26B43"/>
          </p15:clr>
        </p15:guide>
        <p15:guide id="8" pos="5534" userDrawn="1">
          <p15:clr>
            <a:srgbClr val="F26B43"/>
          </p15:clr>
        </p15:guide>
        <p15:guide id="9" orient="horz" pos="1076" userDrawn="1">
          <p15:clr>
            <a:srgbClr val="F26B43"/>
          </p15:clr>
        </p15:guide>
        <p15:guide id="10" orient="horz" pos="2164" userDrawn="1">
          <p15:clr>
            <a:srgbClr val="F26B43"/>
          </p15:clr>
        </p15:guide>
        <p15:guide id="11" orient="horz" pos="2709" userDrawn="1">
          <p15:clr>
            <a:srgbClr val="F26B43"/>
          </p15:clr>
        </p15:guide>
        <p15:guide id="12" orient="horz" pos="531" userDrawn="1">
          <p15:clr>
            <a:srgbClr val="F26B43"/>
          </p15:clr>
        </p15:guide>
        <p15:guide id="13" orient="horz" pos="191" userDrawn="1">
          <p15:clr>
            <a:srgbClr val="F26B43"/>
          </p15:clr>
        </p15:guide>
        <p15:guide id="14" orient="horz" pos="2981" userDrawn="1">
          <p15:clr>
            <a:srgbClr val="F26B43"/>
          </p15:clr>
        </p15:guide>
        <p15:guide id="15" orient="horz" pos="31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F7D3553A-99DE-4C37-8DFC-6BDEB6D2E444}"/>
              </a:ext>
            </a:extLst>
          </p:cNvPr>
          <p:cNvSpPr txBox="1">
            <a:spLocks/>
          </p:cNvSpPr>
          <p:nvPr/>
        </p:nvSpPr>
        <p:spPr>
          <a:xfrm>
            <a:off x="20320" y="590550"/>
            <a:ext cx="3637280" cy="34575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46" rtl="0" eaLnBrk="1" latinLnBrk="0" hangingPunct="1">
              <a:lnSpc>
                <a:spcPct val="80000"/>
              </a:lnSpc>
              <a:spcBef>
                <a:spcPct val="0"/>
              </a:spcBef>
              <a:buClrTx/>
              <a:buNone/>
              <a:defRPr sz="1800" strike="noStrike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hangingPunct="1">
              <a:lnSpc>
                <a:spcPct val="80000"/>
              </a:lnSpc>
              <a:defRPr kern="1200" cap="all" spc="0" baseline="0">
                <a:solidFill>
                  <a:sysClr val="windowText" lastClr="000000"/>
                </a:solidFill>
                <a:latin typeface="+mj-lt"/>
              </a:defRPr>
            </a:lvl2pPr>
            <a:lvl3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3pPr>
            <a:lvl4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4pPr>
            <a:lvl5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algn="r"/>
            <a:r>
              <a:rPr lang="de-DE" sz="4000" b="1" dirty="0">
                <a:solidFill>
                  <a:schemeClr val="bg1"/>
                </a:solidFill>
                <a:latin typeface="adineue PRO Black" charset="0"/>
                <a:ea typeface="adineue PRO Black" charset="0"/>
                <a:cs typeface="adineue PRO Black" charset="0"/>
              </a:rPr>
              <a:t>PRESEASON DEMAND FORECAST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F2E92D-6F7B-43E8-807C-7C4CC6EEECE2}"/>
              </a:ext>
            </a:extLst>
          </p:cNvPr>
          <p:cNvSpPr/>
          <p:nvPr/>
        </p:nvSpPr>
        <p:spPr>
          <a:xfrm>
            <a:off x="4149859" y="1715479"/>
            <a:ext cx="4680520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MVP FORECAST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C00000"/>
              </a:solidFill>
              <a:latin typeface="adineue PRO Black" charset="0"/>
              <a:ea typeface="adineue PRO Black" charset="0"/>
              <a:cs typeface="adineue PRO Black" charset="0"/>
            </a:endParaRP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GAS MODELS FOR ‘TRUE’ NET DEMAND QTY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600" b="1" dirty="0">
              <a:solidFill>
                <a:srgbClr val="C00000"/>
              </a:solidFill>
              <a:latin typeface="adineue PRO Black" charset="0"/>
              <a:ea typeface="adineue PRO Black" charset="0"/>
              <a:cs typeface="adineue PRO Black" charset="0"/>
            </a:endParaRP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SEASONALITY FOR UNOBSERVED WEEK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1929F3-5887-B84B-8AA5-D5CFD25B25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539" t="-123" r="23053" b="123"/>
          <a:stretch/>
        </p:blipFill>
        <p:spPr>
          <a:xfrm>
            <a:off x="0" y="-6350"/>
            <a:ext cx="3716291" cy="51498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91E0033-8AF3-0C4C-AE1D-B98D5A59C38F}"/>
              </a:ext>
            </a:extLst>
          </p:cNvPr>
          <p:cNvSpPr/>
          <p:nvPr/>
        </p:nvSpPr>
        <p:spPr>
          <a:xfrm>
            <a:off x="2209800" y="227663"/>
            <a:ext cx="333578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  <a:latin typeface="adineue PRO Black" charset="0"/>
                <a:ea typeface="adineue PRO Black" charset="0"/>
                <a:cs typeface="adineue PRO Black" charset="0"/>
              </a:rPr>
              <a:t>COOKING</a:t>
            </a:r>
            <a:r>
              <a:rPr lang="en-US" sz="2400" b="1" dirty="0">
                <a:solidFill>
                  <a:srgbClr val="C00000"/>
                </a:solidFill>
                <a:latin typeface="adineue PRO Black" charset="0"/>
                <a:ea typeface="adineue PRO Black" charset="0"/>
                <a:cs typeface="adineue PRO Black" charset="0"/>
              </a:rPr>
              <a:t> WITH GAS…</a:t>
            </a:r>
          </a:p>
        </p:txBody>
      </p:sp>
    </p:spTree>
    <p:extLst>
      <p:ext uri="{BB962C8B-B14F-4D97-AF65-F5344CB8AC3E}">
        <p14:creationId xmlns:p14="http://schemas.microsoft.com/office/powerpoint/2010/main" val="424923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10000">
        <p14:prism/>
      </p:transition>
    </mc:Choice>
    <mc:Fallback xmlns="">
      <p:transition xmlns:p14="http://schemas.microsoft.com/office/powerpoint/2010/main" spd="slow" advClick="0" advTm="1000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ull seas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ull season estimate: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-estimated true net demand quantity </a:t>
            </a:r>
          </a:p>
          <a:p>
            <a:pPr marL="400050" lvl="1" indent="0" algn="ctr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2400" dirty="0">
                <a:sym typeface="Wingdings" pitchFamily="2" charset="2"/>
              </a:rPr>
              <a:t>+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ly inferred unobserved net demand quantity </a:t>
            </a:r>
          </a:p>
          <a:p>
            <a:pPr marL="400050" lvl="1" indent="0" algn="ctr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2400" dirty="0">
                <a:sym typeface="Wingdings" pitchFamily="2" charset="2"/>
              </a:rPr>
              <a:t>=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 full season true net demand quant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C7851A-06AF-2444-A8FA-BEF9510569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760" y="918499"/>
            <a:ext cx="359758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522450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More layer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GA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actors for attributes, to model individual sources of variation; e.g. color, fabric, fit, price.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New articles share the same attributes…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ity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Category experimentation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Model cho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5A430C-AAF7-D746-83F0-CD9F390D7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133475"/>
            <a:ext cx="2876550" cy="287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61238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W20 forecast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W19 is our leading indicator of FW20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As of 1 October (first delivery)  ~50% of FW19 remains unobserved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Part 1 – estimate ‘true’ net demand quantity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b="0" dirty="0">
                <a:latin typeface="Cambria Math" panose="02040503050406030204" pitchFamily="18" charset="0"/>
                <a:sym typeface="Wingdings" pitchFamily="2" charset="2"/>
              </a:rPr>
              <a:t>Generalized Auto</a:t>
            </a:r>
            <a:r>
              <a:rPr lang="en-US" sz="1400" dirty="0">
                <a:latin typeface="Cambria Math" panose="02040503050406030204" pitchFamily="18" charset="0"/>
                <a:sym typeface="Wingdings" pitchFamily="2" charset="2"/>
              </a:rPr>
              <a:t>regressive Score models</a:t>
            </a:r>
            <a:endParaRPr lang="en-US" sz="1400" b="0" dirty="0">
              <a:latin typeface="Cambria Math" panose="02040503050406030204" pitchFamily="18" charset="0"/>
              <a:sym typeface="Wingdings" pitchFamily="2" charset="2"/>
            </a:endParaRP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Buy availability is the key</a:t>
            </a: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Part 2 – infer article seasonality from similar articles </a:t>
            </a:r>
          </a:p>
          <a:p>
            <a:pPr lvl="1">
              <a:lnSpc>
                <a:spcPct val="20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Type, franchise, color, behavior…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39316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GAS MODEL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</p:spPr>
            <p:txBody>
              <a:bodyPr numCol="1">
                <a:normAutofit/>
              </a:bodyPr>
              <a:lstStyle/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Generalized Autoregressive Scoring models</a:t>
                </a:r>
              </a:p>
              <a:p>
                <a:pPr lvl="1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=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∗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𝜖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where </a:t>
                </a:r>
                <a:endParaRPr lang="en-US" sz="1400" i="1" dirty="0">
                  <a:latin typeface="Cambria Math" panose="02040503050406030204" pitchFamily="18" charset="0"/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𝜖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 ~ 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𝑁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0, 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𝜎</m:t>
                        </m:r>
                      </m:e>
                    </m:d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: </a:t>
                </a:r>
                <a:r>
                  <a:rPr lang="en-US" sz="1400" dirty="0" err="1">
                    <a:sym typeface="Wingdings" pitchFamily="2" charset="2"/>
                  </a:rPr>
                  <a:t>buy_availability</a:t>
                </a: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Time-varying parameter f:</a:t>
                </a:r>
              </a:p>
              <a:p>
                <a:pPr lvl="1">
                  <a:lnSpc>
                    <a:spcPct val="200000"/>
                  </a:lnSpc>
                  <a:buClr>
                    <a:srgbClr val="C00000"/>
                  </a:buClr>
                </a:pPr>
                <a:endParaRPr lang="en-US" sz="1400" dirty="0">
                  <a:sym typeface="Wingdings" pitchFamily="2" charset="2"/>
                </a:endParaRPr>
              </a:p>
              <a:p>
                <a:pPr marL="40050" indent="0">
                  <a:lnSpc>
                    <a:spcPct val="200000"/>
                  </a:lnSpc>
                  <a:buClr>
                    <a:srgbClr val="C00000"/>
                  </a:buClr>
                  <a:buNone/>
                </a:pPr>
                <a:endParaRPr lang="en-US" sz="1400" dirty="0">
                  <a:sym typeface="Wingdings" pitchFamily="2" charset="2"/>
                </a:endParaRPr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  <a:blipFill>
                <a:blip r:embed="rId2"/>
                <a:stretch>
                  <a:fillRect l="-6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C6293F-0293-E24C-A46D-EABCB8AEE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2862556"/>
            <a:ext cx="2795587" cy="5305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4B634C-6724-004C-B66B-789E550B88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7800" y="1441083"/>
            <a:ext cx="3303540" cy="287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753527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GAS MODEL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</p:spPr>
            <p:txBody>
              <a:bodyPr numCol="1">
                <a:normAutofit/>
              </a:bodyPr>
              <a:lstStyle/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Generalized Autoregressive Scoring models</a:t>
                </a:r>
              </a:p>
              <a:p>
                <a:pPr lvl="1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=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∗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𝜖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where </a:t>
                </a:r>
                <a:endParaRPr lang="en-US" sz="1400" i="1" dirty="0">
                  <a:latin typeface="Cambria Math" panose="02040503050406030204" pitchFamily="18" charset="0"/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𝜖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 ~ 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𝑁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0, 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𝜎</m:t>
                        </m:r>
                      </m:e>
                    </m:d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: </a:t>
                </a:r>
                <a:r>
                  <a:rPr lang="en-US" sz="1400" dirty="0" err="1">
                    <a:sym typeface="Wingdings" pitchFamily="2" charset="2"/>
                  </a:rPr>
                  <a:t>buy_availability</a:t>
                </a:r>
                <a:r>
                  <a:rPr lang="en-US" sz="1400" dirty="0">
                    <a:sym typeface="Wingdings" pitchFamily="2" charset="2"/>
                  </a:rPr>
                  <a:t> at time t</a:t>
                </a:r>
              </a:p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Time-varying parameter f:</a:t>
                </a:r>
              </a:p>
              <a:p>
                <a:pPr marL="40050" indent="0">
                  <a:lnSpc>
                    <a:spcPct val="200000"/>
                  </a:lnSpc>
                  <a:buClr>
                    <a:srgbClr val="C00000"/>
                  </a:buClr>
                  <a:buNone/>
                </a:pPr>
                <a:endParaRPr lang="en-US" sz="1400" dirty="0">
                  <a:sym typeface="Wingdings" pitchFamily="2" charset="2"/>
                </a:endParaRPr>
              </a:p>
              <a:p>
                <a:pPr lvl="1">
                  <a:lnSpc>
                    <a:spcPct val="20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|(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,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)</m:t>
                    </m:r>
                  </m:oMath>
                </a14:m>
                <a:r>
                  <a:rPr lang="en-US" sz="1400" dirty="0">
                    <a:sym typeface="Wingdings" pitchFamily="2" charset="2"/>
                  </a:rPr>
                  <a:t> is distributed </a:t>
                </a:r>
                <a14:m>
                  <m:oMath xmlns:m="http://schemas.openxmlformats.org/officeDocument/2006/math"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𝑁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(</m:t>
                    </m:r>
                    <m:sSub>
                      <m:sSubPr>
                        <m:ctrlP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∗</m:t>
                    </m:r>
                    <m:sSub>
                      <m:sSubPr>
                        <m:ctrlP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,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 </m:t>
                    </m:r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 </m:t>
                    </m:r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𝜎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)</m:t>
                    </m:r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 lvl="1"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>
                    <a:sym typeface="Wingdings" pitchFamily="2" charset="2"/>
                  </a:rPr>
                  <a:t>Scaled score; </a:t>
                </a:r>
                <a:r>
                  <a:rPr lang="en-US" sz="1400" dirty="0">
                    <a:sym typeface="Wingdings" pitchFamily="2" charset="2"/>
                  </a:rPr>
                  <a:t>our usage simplifies to:</a:t>
                </a:r>
              </a:p>
              <a:p>
                <a:pPr lvl="2">
                  <a:lnSpc>
                    <a:spcPct val="15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+1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=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𝜔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𝛽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𝛼</m:t>
                    </m:r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(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−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)</m:t>
                    </m:r>
                  </m:oMath>
                </a14:m>
                <a:endParaRPr lang="en-US" sz="1400" dirty="0">
                  <a:sym typeface="Wingdings" pitchFamily="2" charset="2"/>
                </a:endParaRPr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  <a:blipFill>
                <a:blip r:embed="rId2"/>
                <a:stretch>
                  <a:fillRect l="-6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C6293F-0293-E24C-A46D-EABCB8AEE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00" y="2876549"/>
            <a:ext cx="2795587" cy="5305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4B634C-6724-004C-B66B-789E550B88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7800" y="1441083"/>
            <a:ext cx="3303540" cy="287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69580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GAS MODELS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</p:spPr>
            <p:txBody>
              <a:bodyPr numCol="1">
                <a:normAutofit fontScale="92500" lnSpcReduction="10000"/>
              </a:bodyPr>
              <a:lstStyle/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Generalized Autoregressive Scoring models</a:t>
                </a:r>
              </a:p>
              <a:p>
                <a:pPr lvl="1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=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∗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𝜖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where </a:t>
                </a:r>
                <a:endParaRPr lang="en-US" sz="1400" i="1" dirty="0">
                  <a:latin typeface="Cambria Math" panose="02040503050406030204" pitchFamily="18" charset="0"/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𝜖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 ~ 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𝑁</m:t>
                    </m:r>
                    <m:d>
                      <m:d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d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0, 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𝜎</m:t>
                        </m:r>
                      </m:e>
                    </m:d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 lvl="2">
                  <a:lnSpc>
                    <a:spcPct val="12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: </a:t>
                </a:r>
                <a:r>
                  <a:rPr lang="en-US" sz="1400" dirty="0" err="1">
                    <a:sym typeface="Wingdings" pitchFamily="2" charset="2"/>
                  </a:rPr>
                  <a:t>buy_availability</a:t>
                </a:r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20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Time-varying parameter f:</a:t>
                </a:r>
              </a:p>
              <a:p>
                <a:pPr marL="40050" indent="0">
                  <a:lnSpc>
                    <a:spcPct val="200000"/>
                  </a:lnSpc>
                  <a:buClr>
                    <a:srgbClr val="C00000"/>
                  </a:buClr>
                  <a:buNone/>
                </a:pPr>
                <a:endParaRPr lang="en-US" sz="1400" dirty="0">
                  <a:sym typeface="Wingdings" pitchFamily="2" charset="2"/>
                </a:endParaRPr>
              </a:p>
              <a:p>
                <a:pPr lvl="1">
                  <a:lnSpc>
                    <a:spcPct val="20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is distributed </a:t>
                </a:r>
                <a14:m>
                  <m:oMath xmlns:m="http://schemas.openxmlformats.org/officeDocument/2006/math"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𝑁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(</m:t>
                    </m:r>
                    <m:sSub>
                      <m:sSubPr>
                        <m:ctrlP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∗</m:t>
                    </m:r>
                    <m:sSub>
                      <m:sSubPr>
                        <m:ctrlP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dirty="0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,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 </m:t>
                    </m:r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 </m:t>
                    </m:r>
                    <m:r>
                      <a:rPr lang="en-US" sz="140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𝜎</m:t>
                    </m:r>
                    <m:r>
                      <a:rPr lang="en-US" sz="1400" b="0" i="1" dirty="0" smtClean="0">
                        <a:latin typeface="Cambria Math" panose="02040503050406030204" pitchFamily="18" charset="0"/>
                        <a:sym typeface="Wingdings" pitchFamily="2" charset="2"/>
                      </a:rPr>
                      <m:t>)</m:t>
                    </m:r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 lvl="1"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Scaled score, our usage simplifies to:</a:t>
                </a:r>
              </a:p>
              <a:p>
                <a:pPr lvl="2">
                  <a:lnSpc>
                    <a:spcPct val="150000"/>
                  </a:lnSpc>
                  <a:buClr>
                    <a:srgbClr val="C00000"/>
                  </a:buCl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=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𝜔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r>
                      <a:rPr lang="en-US" sz="1400" i="1">
                        <a:latin typeface="Cambria Math" panose="02040503050406030204" pitchFamily="18" charset="0"/>
                        <a:sym typeface="Wingdings" pitchFamily="2" charset="2"/>
                      </a:rPr>
                      <m:t>𝛽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+</m:t>
                    </m:r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𝛼</m:t>
                    </m:r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(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𝑦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−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𝑥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−1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  <a:sym typeface="Wingdings" pitchFamily="2" charset="2"/>
                      </a:rPr>
                      <m:t>)</m:t>
                    </m:r>
                  </m:oMath>
                </a14:m>
                <a:endParaRPr lang="en-US" sz="1400" dirty="0">
                  <a:sym typeface="Wingdings" pitchFamily="2" charset="2"/>
                </a:endParaRP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Observation driven -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𝑓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  <a:sym typeface="Wingdings" pitchFamily="2" charset="2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400" dirty="0">
                    <a:sym typeface="Wingdings" pitchFamily="2" charset="2"/>
                  </a:rPr>
                  <a:t> known given data up to time t-1</a:t>
                </a:r>
              </a:p>
              <a:p>
                <a:pPr>
                  <a:lnSpc>
                    <a:spcPct val="150000"/>
                  </a:lnSpc>
                  <a:buClr>
                    <a:srgbClr val="C00000"/>
                  </a:buClr>
                </a:pPr>
                <a:r>
                  <a:rPr lang="en-US" sz="1400" dirty="0">
                    <a:sym typeface="Wingdings" pitchFamily="2" charset="2"/>
                  </a:rPr>
                  <a:t>Closed form likelihood, easy estimation</a:t>
                </a:r>
              </a:p>
            </p:txBody>
          </p:sp>
        </mc:Choice>
        <mc:Fallback>
          <p:sp>
            <p:nvSpPr>
              <p:cNvPr id="4" name="Text Placeholder 3">
                <a:extLst>
                  <a:ext uri="{FF2B5EF4-FFF2-40B4-BE49-F238E27FC236}">
                    <a16:creationId xmlns:a16="http://schemas.microsoft.com/office/drawing/2014/main" id="{E5CA33FE-16F9-7F48-BA4D-F8CA50A6E2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25"/>
              </p:nvPr>
            </p:nvSpPr>
            <p:spPr>
              <a:xfrm>
                <a:off x="582660" y="895350"/>
                <a:ext cx="7430189" cy="4191000"/>
              </a:xfrm>
              <a:blipFill>
                <a:blip r:embed="rId2"/>
                <a:stretch>
                  <a:fillRect l="-5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C6293F-0293-E24C-A46D-EABCB8AEE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0315" y="2611296"/>
            <a:ext cx="2795587" cy="5305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4B634C-6724-004C-B66B-789E550B88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7800" y="1441083"/>
            <a:ext cx="3303540" cy="287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135707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Observed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1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SUPERSTAR 80s, CQ2659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*Partial season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W18 (EU) net demand qty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: 725 unit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: </a:t>
            </a:r>
            <a:r>
              <a:rPr lang="en-US" sz="1400" dirty="0"/>
              <a:t>1774</a:t>
            </a:r>
            <a:r>
              <a:rPr lang="en-US" sz="1400" dirty="0">
                <a:sym typeface="Wingdings" pitchFamily="2" charset="2"/>
              </a:rPr>
              <a:t> uni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3218759"/>
            <a:ext cx="3428999" cy="14882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C816E52-7952-A94E-95C9-11A88DD76C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1189037"/>
            <a:ext cx="4454042" cy="17826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2C9FBD-277F-E040-B691-F061DEF0B4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99" y="3163070"/>
            <a:ext cx="4572001" cy="1733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65159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 err="1">
                <a:solidFill>
                  <a:srgbClr val="C00000"/>
                </a:solidFill>
              </a:rPr>
              <a:t>UnObserved</a:t>
            </a:r>
            <a:r>
              <a:rPr lang="en-US" sz="2400" dirty="0">
                <a:solidFill>
                  <a:srgbClr val="C00000"/>
                </a:solidFill>
              </a:rPr>
              <a:t>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Categories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.g. </a:t>
            </a:r>
            <a:r>
              <a:rPr lang="en-US" sz="1400" dirty="0" err="1">
                <a:sym typeface="Wingdings" pitchFamily="2" charset="2"/>
              </a:rPr>
              <a:t>prod_grp_desc</a:t>
            </a:r>
            <a:r>
              <a:rPr lang="en-US" sz="1400" dirty="0">
                <a:sym typeface="Wingdings" pitchFamily="2" charset="2"/>
              </a:rPr>
              <a:t> == SHOE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Weekly FW shoe net demand averag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84" y="3257550"/>
            <a:ext cx="2873374" cy="12470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490741-AC1F-6E48-BE9C-636DC8D25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9600" y="3032117"/>
            <a:ext cx="4621259" cy="18705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8BE404-D7E2-2746-9939-6788A703E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5800" y="1076550"/>
            <a:ext cx="4468859" cy="176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75732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 err="1">
                <a:solidFill>
                  <a:srgbClr val="C00000"/>
                </a:solidFill>
              </a:rPr>
              <a:t>UnObserved</a:t>
            </a:r>
            <a:r>
              <a:rPr lang="en-US" sz="2400" dirty="0">
                <a:solidFill>
                  <a:srgbClr val="C00000"/>
                </a:solidFill>
              </a:rPr>
              <a:t> interval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</a:t>
            </a:r>
            <a:r>
              <a:rPr lang="en-US" sz="1400" b="1" dirty="0">
                <a:sym typeface="Wingdings" pitchFamily="2" charset="2"/>
              </a:rPr>
              <a:t>observed weeks </a:t>
            </a:r>
            <a:r>
              <a:rPr lang="en-US" sz="1400" dirty="0">
                <a:sym typeface="Wingdings" pitchFamily="2" charset="2"/>
              </a:rPr>
              <a:t>to establish relationship between shoe seasonality &amp; CQ2659 net demand qty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Use relationship to predict CQ2659 net demand qty for unobserved week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‘</a:t>
            </a:r>
            <a:r>
              <a:rPr lang="en-US" sz="1400" dirty="0" err="1">
                <a:sym typeface="Wingdings" pitchFamily="2" charset="2"/>
              </a:rPr>
              <a:t>preds</a:t>
            </a:r>
            <a:r>
              <a:rPr lang="en-US" sz="1400" dirty="0">
                <a:sym typeface="Wingdings" pitchFamily="2" charset="2"/>
              </a:rPr>
              <a:t>’ line in lower plot for full seas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59800C3-4C51-3140-990E-AC5B5A97A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720" y="3645461"/>
            <a:ext cx="2504223" cy="10868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8BE404-D7E2-2746-9939-6788A703E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7754" y="1004142"/>
            <a:ext cx="4621259" cy="18281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D864CD6-3EC5-DD43-9B3B-2E128DD56C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2936239"/>
            <a:ext cx="4651814" cy="18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469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613A6-9041-5F44-BE61-463E01BC0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03213"/>
            <a:ext cx="842645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/>
              <a:t>Demand forecasting</a:t>
            </a:r>
            <a:br>
              <a:rPr lang="en-US" sz="2400" dirty="0"/>
            </a:br>
            <a:r>
              <a:rPr lang="en-US" sz="2400" dirty="0">
                <a:solidFill>
                  <a:srgbClr val="C00000"/>
                </a:solidFill>
              </a:rPr>
              <a:t>full season</a:t>
            </a:r>
            <a:br>
              <a:rPr lang="en-US" sz="2400" dirty="0">
                <a:solidFill>
                  <a:schemeClr val="accent6"/>
                </a:solidFill>
              </a:rPr>
            </a:br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C6C5B-4153-C24D-8FD1-BFD92F4AFF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A33FE-16F9-7F48-BA4D-F8CA50A6E2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2660" y="1047750"/>
            <a:ext cx="7430189" cy="4038600"/>
          </a:xfrm>
        </p:spPr>
        <p:txBody>
          <a:bodyPr numCol="2">
            <a:norm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Full season estimate: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observed-estimated true net demand quantity </a:t>
            </a:r>
          </a:p>
          <a:p>
            <a:pPr marL="400050" lvl="1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400" dirty="0">
                <a:sym typeface="Wingdings" pitchFamily="2" charset="2"/>
              </a:rPr>
              <a:t>+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Seasonally inferred unobserved net demand quantity </a:t>
            </a:r>
          </a:p>
          <a:p>
            <a:pPr marL="400050" lvl="1" indent="0">
              <a:lnSpc>
                <a:spcPct val="150000"/>
              </a:lnSpc>
              <a:buClr>
                <a:srgbClr val="C00000"/>
              </a:buClr>
              <a:buNone/>
            </a:pPr>
            <a:r>
              <a:rPr lang="en-US" sz="1400" dirty="0">
                <a:sym typeface="Wingdings" pitchFamily="2" charset="2"/>
              </a:rPr>
              <a:t>=</a:t>
            </a:r>
          </a:p>
          <a:p>
            <a:pPr lvl="1">
              <a:lnSpc>
                <a:spcPct val="150000"/>
              </a:lnSpc>
              <a:buClr>
                <a:srgbClr val="C00000"/>
              </a:buClr>
            </a:pPr>
            <a:r>
              <a:rPr lang="en-US" sz="1400" dirty="0">
                <a:sym typeface="Wingdings" pitchFamily="2" charset="2"/>
              </a:rPr>
              <a:t>Estimated full season true net demand quantity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en-US" sz="1400" dirty="0">
              <a:sym typeface="Wingdings" pitchFamily="2" charset="2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C9E4D3-A261-AD46-AD50-86C8FF7A981A}"/>
              </a:ext>
            </a:extLst>
          </p:cNvPr>
          <p:cNvSpPr txBox="1"/>
          <p:nvPr/>
        </p:nvSpPr>
        <p:spPr bwMode="gray">
          <a:xfrm>
            <a:off x="1030514" y="493486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endParaRPr lang="en-US" sz="1200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0C7851A-06AF-2444-A8FA-BEF9510569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760" y="918499"/>
            <a:ext cx="359758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2903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RESOURCE_PATHS_HASH_2" val="43ef732248e4e4fbc1f78a43fe4c73af8c5bffc"/>
  <p:tag name="ISPRING_RESOURCE_PATHS_HASH_PRESENTER" val="9dda88443082203f79f77cdab4a4d557b43c7db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921_Digital_Analytics_Template">
  <a:themeElements>
    <a:clrScheme name="Digital Analytics 1">
      <a:dk1>
        <a:srgbClr val="000000"/>
      </a:dk1>
      <a:lt1>
        <a:srgbClr val="FFFFFF"/>
      </a:lt1>
      <a:dk2>
        <a:srgbClr val="D6D6D6"/>
      </a:dk2>
      <a:lt2>
        <a:srgbClr val="FFFFFF"/>
      </a:lt2>
      <a:accent1>
        <a:srgbClr val="04D5C3"/>
      </a:accent1>
      <a:accent2>
        <a:srgbClr val="F9413A"/>
      </a:accent2>
      <a:accent3>
        <a:srgbClr val="009638"/>
      </a:accent3>
      <a:accent4>
        <a:srgbClr val="5BC2E7"/>
      </a:accent4>
      <a:accent5>
        <a:srgbClr val="FEDD00"/>
      </a:accent5>
      <a:accent6>
        <a:srgbClr val="3078E2"/>
      </a:accent6>
      <a:hlink>
        <a:srgbClr val="000000"/>
      </a:hlink>
      <a:folHlink>
        <a:srgbClr val="000000"/>
      </a:folHlink>
    </a:clrScheme>
    <a:fontScheme name="Custom 1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2CD5C4"/>
        </a:solidFill>
        <a:ln w="12700" cap="sq">
          <a:noFill/>
          <a:miter lim="800000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0"/>
          </a:spcBef>
          <a:defRPr sz="1400" cap="all" dirty="0" smtClean="0">
            <a:latin typeface="+mj-lt"/>
            <a:cs typeface="AdihausDIN" panose="020B0504020101020102" pitchFamily="34" charset="0"/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28575" cmpd="sng">
          <a:solidFill>
            <a:srgbClr val="2CD5C4"/>
          </a:solidFill>
          <a:prstDash val="soli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gray">
        <a:noFill/>
        <a:ln w="12700" cap="sq">
          <a:noFill/>
          <a:miter lim="800000"/>
        </a:ln>
      </a:spPr>
      <a:bodyPr vert="horz" wrap="none" lIns="0" tIns="0" rIns="0" bIns="0" rtlCol="0" anchor="t" anchorCtr="0">
        <a:noAutofit/>
      </a:bodyPr>
      <a:lstStyle>
        <a:defPPr>
          <a:lnSpc>
            <a:spcPct val="90000"/>
          </a:lnSpc>
          <a:defRPr sz="1200" dirty="0" smtClean="0">
            <a:latin typeface="AdihausDIN" panose="020B0504020101020102" pitchFamily="34" charset="0"/>
            <a:cs typeface="AdihausDIN" panose="020B050402010102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921_Digital_Analytics_Template" id="{16EF9967-9395-5444-9C97-DFF82C54F1DD}" vid="{FE673D85-9B1C-6D43-87B3-28F6E0466FEF}"/>
    </a:ext>
  </a:extLst>
</a:theme>
</file>

<file path=ppt/theme/theme2.xml><?xml version="1.0" encoding="utf-8"?>
<a:theme xmlns:a="http://schemas.openxmlformats.org/drawingml/2006/main" name="Office Theme">
  <a:themeElements>
    <a:clrScheme name="GBC 201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404040"/>
      </a:accent2>
      <a:accent3>
        <a:srgbClr val="EA5649"/>
      </a:accent3>
      <a:accent4>
        <a:srgbClr val="6AB1AA"/>
      </a:accent4>
      <a:accent5>
        <a:srgbClr val="3E00C4"/>
      </a:accent5>
      <a:accent6>
        <a:srgbClr val="FCDD00"/>
      </a:accent6>
      <a:hlink>
        <a:srgbClr val="000000"/>
      </a:hlink>
      <a:folHlink>
        <a:srgbClr val="000000"/>
      </a:folHlink>
    </a:clrScheme>
    <a:fontScheme name="GBC 2015">
      <a:majorFont>
        <a:latin typeface="adineue PRO TT Black"/>
        <a:ea typeface=""/>
        <a:cs typeface=""/>
      </a:majorFont>
      <a:minorFont>
        <a:latin typeface="adineue PRO 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miter lim="800000"/>
        </a:ln>
      </a:spPr>
      <a:bodyPr lIns="72000" tIns="72000" rIns="72000" bIns="72000" rtlCol="0" anchor="ctr"/>
      <a:lstStyle>
        <a:defPPr algn="ctr">
          <a:spcBef>
            <a:spcPts val="0"/>
          </a:spcBef>
          <a:defRPr sz="140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Adidas (Sport)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00"/>
      </a:accent1>
      <a:accent2>
        <a:srgbClr val="969696"/>
      </a:accent2>
      <a:accent3>
        <a:srgbClr val="B71234"/>
      </a:accent3>
      <a:accent4>
        <a:srgbClr val="007934"/>
      </a:accent4>
      <a:accent5>
        <a:srgbClr val="0046AD"/>
      </a:accent5>
      <a:accent6>
        <a:srgbClr val="FFA100"/>
      </a:accent6>
      <a:hlink>
        <a:srgbClr val="000000"/>
      </a:hlink>
      <a:folHlink>
        <a:srgbClr val="000000"/>
      </a:folHlink>
    </a:clrScheme>
    <a:fontScheme name="adiNeue - AdihausDIN">
      <a:majorFont>
        <a:latin typeface="adiNeue2013 Bold"/>
        <a:ea typeface=""/>
        <a:cs typeface=""/>
      </a:majorFont>
      <a:minorFont>
        <a:latin typeface="AdihausD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 cap="sq">
          <a:solidFill>
            <a:schemeClr val="accent1"/>
          </a:solidFill>
          <a:miter lim="800000"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 sz="14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b" anchorCtr="0">
        <a:noAutofit/>
      </a:bodyPr>
      <a:lstStyle>
        <a:defPPr algn="l">
          <a:lnSpc>
            <a:spcPct val="90000"/>
          </a:lnSpc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921_Digital_Analytics_Template</Template>
  <TotalTime>62246</TotalTime>
  <Words>441</Words>
  <Application>Microsoft Macintosh PowerPoint</Application>
  <PresentationFormat>On-screen Show (16:9)</PresentationFormat>
  <Paragraphs>8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dihausDIN</vt:lpstr>
      <vt:lpstr>adineue PRO Black</vt:lpstr>
      <vt:lpstr>adineue PRO TT Black</vt:lpstr>
      <vt:lpstr>adineue PRO TT Light</vt:lpstr>
      <vt:lpstr>Arial</vt:lpstr>
      <vt:lpstr>Cambria Math</vt:lpstr>
      <vt:lpstr>Symbol</vt:lpstr>
      <vt:lpstr>Wingdings</vt:lpstr>
      <vt:lpstr>20170921_Digital_Analytics_Template</vt:lpstr>
      <vt:lpstr>think-cell Slide</vt:lpstr>
      <vt:lpstr>PowerPoint Presentation</vt:lpstr>
      <vt:lpstr>Demand forecasting FW20 forecasts </vt:lpstr>
      <vt:lpstr>Demand forecasting GAS MODELS </vt:lpstr>
      <vt:lpstr>Demand forecasting GAS MODELS </vt:lpstr>
      <vt:lpstr>Demand forecasting GAS MODELS </vt:lpstr>
      <vt:lpstr>Demand forecasting Observed interval </vt:lpstr>
      <vt:lpstr>Demand forecasting UnObserved interval </vt:lpstr>
      <vt:lpstr>Demand forecasting UnObserved interval </vt:lpstr>
      <vt:lpstr>Demand forecasting full season </vt:lpstr>
      <vt:lpstr>Demand forecasting full season </vt:lpstr>
      <vt:lpstr>Demand forecasting More layers </vt:lpstr>
    </vt:vector>
  </TitlesOfParts>
  <Company>adida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emplate</dc:title>
  <dc:creator>Zhang, Yuchun</dc:creator>
  <cp:lastModifiedBy>Comiskey, Chris [External]</cp:lastModifiedBy>
  <cp:revision>670</cp:revision>
  <cp:lastPrinted>2019-03-27T13:46:10Z</cp:lastPrinted>
  <dcterms:created xsi:type="dcterms:W3CDTF">2017-11-15T09:49:52Z</dcterms:created>
  <dcterms:modified xsi:type="dcterms:W3CDTF">2019-08-07T13:16:48Z</dcterms:modified>
  <dc:language>English-UK</dc:language>
</cp:coreProperties>
</file>